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handoutMasterIdLst>
    <p:handoutMasterId r:id="rId4"/>
  </p:handoutMasterIdLst>
  <p:sldIdLst>
    <p:sldId id="411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notesViewPr>
    <p:cSldViewPr snapToGrid="0">
      <p:cViewPr varScale="1">
        <p:scale>
          <a:sx n="54" d="100"/>
          <a:sy n="54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12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3988" y="0"/>
            <a:ext cx="303212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8F9C21-366D-4182-9DDD-01907270910F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32125" cy="465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0429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03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AD98787-0150-49E1-822E-D9C1BFDFDA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BD764DDA-1100-46E2-A559-20E83A1F36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B01DA96-AA50-45C8-9D52-313E287048EF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D151A7-3227-4A65-BFB6-20B08C01C5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33" name="TPandFilters">
            <a:extLst>
              <a:ext uri="{FF2B5EF4-FFF2-40B4-BE49-F238E27FC236}">
                <a16:creationId xmlns:a16="http://schemas.microsoft.com/office/drawing/2014/main" id="{78E29CCC-F72E-4A0F-A915-699AFD40F446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 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D3593006-3EB6-411B-AF29-5350C127155F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7BE97EB5-E7C5-46BC-9014-0AB0730702D0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E887443-4BCD-4C3D-A12A-C1A4A9D5ACE8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9930852-0812-45C7-B535-4E0D49EF436F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08EBB72-A690-4549-B17C-DA9AD36D2D0C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B3B4086B-2491-462D-BF9D-B5667C718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0" name="Picture 3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BE33F08-AD4B-4948-ACB7-8C69DD3BEA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41D5972-B291-4015-BBED-82C0AA4CEB9A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471488" y="17996"/>
            <a:ext cx="11720512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0363200" y="6583205"/>
            <a:ext cx="35266" cy="123111"/>
          </a:xfrm>
          <a:prstGeom prst="rect">
            <a:avLst/>
          </a:prstGeom>
        </p:spPr>
        <p:txBody>
          <a:bodyPr/>
          <a:lstStyle/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053507" y="158650"/>
            <a:ext cx="9764018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Urban-Wal-Mart Supercenter</a:t>
            </a: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 bwMode="gray">
          <a:xfrm>
            <a:off x="10363200" y="6583205"/>
            <a:ext cx="3526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044"/>
            <a:fld id="{42C328C1-A84F-4A39-A664-DBA00541A8C6}" type="slidenum">
              <a:rPr>
                <a:solidFill>
                  <a:srgbClr val="808080"/>
                </a:solidFill>
              </a:rPr>
              <a:pPr defTabSz="913044"/>
              <a:t>1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71488" y="761994"/>
            <a:ext cx="11200046" cy="5115344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100980"/>
              </p:ext>
            </p:extLst>
          </p:nvPr>
        </p:nvGraphicFramePr>
        <p:xfrm>
          <a:off x="576818" y="782839"/>
          <a:ext cx="11081783" cy="5066678"/>
        </p:xfrm>
        <a:graphic>
          <a:graphicData uri="http://schemas.openxmlformats.org/drawingml/2006/table">
            <a:tbl>
              <a:tblPr/>
              <a:tblGrid>
                <a:gridCol w="423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18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26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429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rban-Wal-Mart Supercente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366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694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2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2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8983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694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2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22731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2]</a:t>
                      </a:r>
                    </a:p>
                    <a:p>
                      <a:pPr marL="169863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*show high-skew motivation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2419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05854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3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502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694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6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5487400" y="5980729"/>
            <a:ext cx="6683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1] Stat Test vs Share of Monthly+ Urban-Wal-Mart Supercenter Shopper, [2] Stat Test vs Total Trips of Urban-Wal-Mart Supercenter,</a:t>
            </a:r>
          </a:p>
          <a:p>
            <a:pPr algn="r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charset="0"/>
                <a:cs typeface="ＭＳ Ｐゴシック" charset="0"/>
              </a:rPr>
              <a:t> [3] Stat Test vs Total Monthly+ Urban-Wal-Mart Supercenter Shopper</a:t>
            </a:r>
            <a:endParaRPr lang="en-US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2820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37</TotalTime>
  <Words>228</Words>
  <Application>Microsoft Office PowerPoint</Application>
  <PresentationFormat>Widescreen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9</cp:revision>
  <cp:lastPrinted>2015-12-04T15:56:47Z</cp:lastPrinted>
  <dcterms:created xsi:type="dcterms:W3CDTF">2014-05-21T13:43:49Z</dcterms:created>
  <dcterms:modified xsi:type="dcterms:W3CDTF">2018-10-22T09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